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</p:sldMasterIdLst>
  <p:notesMasterIdLst>
    <p:notesMasterId r:id="rId7"/>
  </p:notesMasterIdLst>
  <p:handoutMasterIdLst>
    <p:handoutMasterId r:id="rId8"/>
  </p:handoutMasterIdLst>
  <p:sldIdLst>
    <p:sldId id="256" r:id="rId6"/>
  </p:sldIdLst>
  <p:sldSz cx="10691813" cy="7559675"/>
  <p:notesSz cx="6858000" cy="9144000"/>
  <p:custDataLst>
    <p:tags r:id="rId9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2" autoAdjust="0"/>
    <p:restoredTop sz="95992" autoAdjust="0"/>
  </p:normalViewPr>
  <p:slideViewPr>
    <p:cSldViewPr snapToGrid="0">
      <p:cViewPr>
        <p:scale>
          <a:sx n="75" d="100"/>
          <a:sy n="75" d="100"/>
        </p:scale>
        <p:origin x="318" y="-78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14. 12. 2018</a:t>
            </a:fld>
            <a:endParaRPr lang="cs-CZ" sz="9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cs-CZ" sz="9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14. 12. 2018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Verdana" pitchFamily="34" charset="0"/>
        <a:cs typeface="Arial" panose="020B0604020202020204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Verdana" pitchFamily="34" charset="0"/>
        <a:cs typeface="Arial" panose="020B0604020202020204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Verdana" pitchFamily="34" charset="0"/>
        <a:cs typeface="Arial" panose="020B0604020202020204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Verdana" pitchFamily="34" charset="0"/>
        <a:cs typeface="Arial" panose="020B0604020202020204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Arial" panose="020B0604020202020204" pitchFamily="34" charset="0"/>
        <a:ea typeface="Verdana" pitchFamily="34" charset="0"/>
        <a:cs typeface="Arial" panose="020B0604020202020204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0" name="Volný tvar 19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23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4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Obrázek 25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smtClean="0"/>
              <a:t>Další kapitola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3067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00627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smtClean="0"/>
              <a:t>Další kapitola</a:t>
            </a:r>
            <a:endParaRPr lang="cs-CZ" noProof="0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74753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smtClean="0"/>
              <a:t>Další kapitola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981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smtClean="0"/>
              <a:t>Další kapitola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80000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Název prezentace</a:t>
            </a:r>
            <a:endParaRPr lang="cs-CZ" noProof="0" dirty="0"/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Jméno</a:t>
            </a:r>
            <a:endParaRPr lang="cs-CZ" noProof="0" dirty="0"/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 smtClean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910949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Dodatečné informace</a:t>
            </a:r>
            <a:endParaRPr lang="cs-CZ" noProof="0" dirty="0"/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 smtClean="0"/>
              <a:t>Oddělení</a:t>
            </a:r>
            <a:endParaRPr lang="cs-CZ" noProof="0" dirty="0"/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62832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 smtClean="0"/>
              <a:t>Další kapitola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cs-CZ" noProof="0" dirty="0" smtClean="0"/>
              <a:t>Obrázek</a:t>
            </a:r>
            <a:endParaRPr lang="cs-CZ" noProof="0" dirty="0"/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Arial" panose="020B0604020202020204" pitchFamily="34" charset="0"/>
              </a:defRPr>
            </a:lvl1pPr>
          </a:lstStyle>
          <a:p>
            <a:pPr lvl="0"/>
            <a:r>
              <a:rPr lang="cs-CZ" noProof="0" dirty="0" smtClean="0"/>
              <a:t>Titulek</a:t>
            </a:r>
            <a:endParaRPr lang="cs-CZ" noProof="0" dirty="0"/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 smtClean="0"/>
              <a:t>Podnadpis</a:t>
            </a:r>
            <a:endParaRPr lang="cs-CZ" noProof="0" dirty="0"/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820000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</a:pPr>
            <a:endParaRPr lang="cs-CZ" sz="2800" b="1" i="0" baseline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5814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smtClean="0"/>
              <a:t>První úroveň</a:t>
            </a:r>
          </a:p>
          <a:p>
            <a:pPr lvl="1"/>
            <a:r>
              <a:rPr lang="cs-CZ" noProof="0" dirty="0" smtClean="0"/>
              <a:t>Druhá úroveň</a:t>
            </a:r>
          </a:p>
          <a:p>
            <a:pPr lvl="2"/>
            <a:r>
              <a:rPr lang="cs-CZ" noProof="0" dirty="0" smtClean="0"/>
              <a:t>Třetí úroveň</a:t>
            </a:r>
          </a:p>
          <a:p>
            <a:pPr lvl="3"/>
            <a:r>
              <a:rPr lang="cs-CZ" noProof="0" dirty="0" smtClean="0"/>
              <a:t>Čtvrtá úroveň</a:t>
            </a:r>
          </a:p>
          <a:p>
            <a:pPr lvl="4"/>
            <a:r>
              <a:rPr lang="cs-CZ" noProof="0" dirty="0" smtClean="0"/>
              <a:t>Pátá úroveň</a:t>
            </a:r>
            <a:endParaRPr lang="cs-CZ" noProof="0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 smtClean="0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smtClean="0"/>
              <a:t>Nadpis (shrnutí stránky)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860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3200"/>
              </a:lnSpc>
              <a:spcBef>
                <a:spcPct val="0"/>
              </a:spcBef>
              <a:spcAft>
                <a:spcPct val="0"/>
              </a:spcAft>
            </a:pPr>
            <a:endParaRPr lang="cs-CZ" sz="14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smtClean="0"/>
              <a:t>Název prezentace, oddělení, jméno, datum</a:t>
            </a:r>
            <a:endParaRPr lang="cs-CZ" dirty="0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12"/>
          </p:nvPr>
        </p:nvSpPr>
        <p:spPr>
          <a:xfrm>
            <a:off x="289020" y="874888"/>
            <a:ext cx="2921756" cy="359924"/>
          </a:xfrm>
        </p:spPr>
        <p:txBody>
          <a:bodyPr/>
          <a:lstStyle/>
          <a:p>
            <a:r>
              <a:rPr lang="cs-CZ" dirty="0" smtClean="0"/>
              <a:t>Příjmy:</a:t>
            </a:r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287876" y="221730"/>
            <a:ext cx="10006115" cy="431909"/>
          </a:xfrm>
        </p:spPr>
        <p:txBody>
          <a:bodyPr/>
          <a:lstStyle/>
          <a:p>
            <a:r>
              <a:rPr lang="cs-CZ" dirty="0" smtClean="0"/>
              <a:t>Detail k 05c 105 561 GLB, </a:t>
            </a:r>
            <a:r>
              <a:rPr lang="cs-CZ" sz="1400" dirty="0" smtClean="0"/>
              <a:t>příjmy </a:t>
            </a:r>
            <a:r>
              <a:rPr lang="cs-CZ" sz="1400" dirty="0" smtClean="0"/>
              <a:t>od června 2017 do </a:t>
            </a:r>
            <a:r>
              <a:rPr lang="cs-CZ" sz="1400" dirty="0" err="1" smtClean="0"/>
              <a:t>lisotpadu</a:t>
            </a:r>
            <a:r>
              <a:rPr lang="cs-CZ" sz="1400" dirty="0" smtClean="0"/>
              <a:t> 2018</a:t>
            </a:r>
            <a:endParaRPr lang="cs-CZ" sz="1400" dirty="0"/>
          </a:p>
        </p:txBody>
      </p:sp>
      <p:pic>
        <p:nvPicPr>
          <p:cNvPr id="14" name="Obrázek 13"/>
          <p:cNvPicPr>
            <a:picLocks noChangeAspect="1"/>
          </p:cNvPicPr>
          <p:nvPr/>
        </p:nvPicPr>
        <p:blipFill rotWithShape="1">
          <a:blip r:embed="rId7"/>
          <a:srcRect r="16719"/>
          <a:stretch/>
        </p:blipFill>
        <p:spPr>
          <a:xfrm>
            <a:off x="1287875" y="874888"/>
            <a:ext cx="4668425" cy="3221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365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HIb6CvR2mq1Rco9eyQ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avojaKSEiHrxwag3eu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Arial_B.potx" id="{B5A651BF-F402-420F-B90F-EC499F915A7D}" vid="{ACD7A9BF-F6C9-46EA-A298-64E30BBF96E6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Arial_B.potx" id="{B5A651BF-F402-420F-B90F-EC499F915A7D}" vid="{6AFEE83C-BF4B-4CEC-B8DE-6361CE1C2B56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Arial_B.potx" id="{B5A651BF-F402-420F-B90F-EC499F915A7D}" vid="{DD5FF476-829F-457F-A27F-B10C7116EC68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Arial_B.potx" id="{B5A651BF-F402-420F-B90F-EC499F915A7D}" vid="{3C01E8A0-D61E-4C56-A706-20C4C962C81D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Arial_B.potx" id="{B5A651BF-F402-420F-B90F-EC499F915A7D}" vid="{25595261-EE3F-431F-9FCA-0EBF3A52AD6A}"/>
    </a:ext>
  </a:extLst>
</a:theme>
</file>

<file path=ppt/theme/theme6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Sablona_Na_sirku_Arial</Template>
  <TotalTime>1</TotalTime>
  <Words>25</Words>
  <Application>Microsoft Office PowerPoint</Application>
  <PresentationFormat>Vlastní</PresentationFormat>
  <Paragraphs>4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10" baseType="lpstr">
      <vt:lpstr>Arial</vt:lpstr>
      <vt:lpstr>Verdana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think-cell Slide</vt:lpstr>
      <vt:lpstr>Detail k 05c 105 561 GLB, příjmy od června 2017 do lisotpadu 2018</vt:lpstr>
    </vt:vector>
  </TitlesOfParts>
  <Manager/>
  <Company>Škoda Auto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ail k 05c 105 561 GLB, příjmy a výdeje za 1 rok (prosinec 2017-listopad 2019)</dc:title>
  <dc:creator>Zelenkova, Jana (PLD)</dc:creator>
  <cp:lastModifiedBy>Lukáš Kadlec</cp:lastModifiedBy>
  <cp:revision>4</cp:revision>
  <dcterms:created xsi:type="dcterms:W3CDTF">2018-12-13T07:28:22Z</dcterms:created>
  <dcterms:modified xsi:type="dcterms:W3CDTF">2018-12-14T14:17:13Z</dcterms:modified>
</cp:coreProperties>
</file>